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6"/>
  </p:notesMasterIdLst>
  <p:handoutMasterIdLst>
    <p:handoutMasterId r:id="rId17"/>
  </p:handoutMasterIdLst>
  <p:sldIdLst>
    <p:sldId id="356" r:id="rId7"/>
    <p:sldId id="385" r:id="rId8"/>
    <p:sldId id="386" r:id="rId9"/>
    <p:sldId id="379" r:id="rId10"/>
    <p:sldId id="387" r:id="rId11"/>
    <p:sldId id="376" r:id="rId12"/>
    <p:sldId id="372" r:id="rId13"/>
    <p:sldId id="373" r:id="rId14"/>
    <p:sldId id="279" r:id="rId15"/>
  </p:sldIdLst>
  <p:sldSz cx="9144000" cy="5143500" type="screen16x9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3"/>
    <p:restoredTop sz="94650"/>
  </p:normalViewPr>
  <p:slideViewPr>
    <p:cSldViewPr snapToGrid="0">
      <p:cViewPr varScale="1">
        <p:scale>
          <a:sx n="120" d="100"/>
          <a:sy n="120" d="100"/>
        </p:scale>
        <p:origin x="200" y="82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7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7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2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6741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19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7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Ausblick MVC-Architecture and </a:t>
            </a:r>
            <a:r>
              <a:rPr lang="de-DE" b="1" dirty="0" err="1"/>
              <a:t>XQuery</a:t>
            </a:r>
            <a:endParaRPr lang="de-DE" b="1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8081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8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ard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Table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hip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07777"/>
          </a:xfrm>
          <a:prstGeom prst="rect">
            <a:avLst/>
          </a:prstGeom>
        </p:spPr>
        <p:txBody>
          <a:bodyPr/>
          <a:lstStyle/>
          <a:p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610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ML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SVG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DocBook</a:t>
            </a:r>
            <a:endParaRPr lang="de-DE" dirty="0"/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45525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155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33461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62</Words>
  <Application>Microsoft Macintosh PowerPoint</Application>
  <PresentationFormat>Bildschirmpräsentation (16:9)</PresentationFormat>
  <Paragraphs>73</Paragraphs>
  <Slides>9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9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Gliederung</vt:lpstr>
      <vt:lpstr>Dokumentation ‚design choices‘</vt:lpstr>
      <vt:lpstr>Cards</vt:lpstr>
      <vt:lpstr>Dokumentation ‚used technologies‘</vt:lpstr>
      <vt:lpstr>XML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59</cp:revision>
  <cp:lastPrinted>2015-07-30T14:04:45Z</cp:lastPrinted>
  <dcterms:created xsi:type="dcterms:W3CDTF">2019-11-21T08:12:12Z</dcterms:created>
  <dcterms:modified xsi:type="dcterms:W3CDTF">2019-11-28T07:45:42Z</dcterms:modified>
</cp:coreProperties>
</file>